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1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871076807177964E-2"/>
          <c:y val="0.11168769732724461"/>
          <c:w val="0.96052508475111475"/>
          <c:h val="0.81538035503139183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0B-4970-8914-088B67661D9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0B-4970-8914-088B67661D9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0B-4970-8914-088B67661D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43437680"/>
        <c:axId val="1443438640"/>
      </c:barChart>
      <c:catAx>
        <c:axId val="1443437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3438640"/>
        <c:crosses val="autoZero"/>
        <c:auto val="1"/>
        <c:lblAlgn val="ctr"/>
        <c:lblOffset val="100"/>
        <c:noMultiLvlLbl val="0"/>
      </c:catAx>
      <c:valAx>
        <c:axId val="144343864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3437680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6847434460265651"/>
          <c:y val="1.3220266182657398E-2"/>
          <c:w val="0.23138301639536535"/>
          <c:h val="5.493666789868210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375F68-3912-149E-30A6-7215AF1653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33850EC-ABB5-2455-5182-06369E50EF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3850EC-ABB5-2455-5182-06369E50E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Chart Placeholder 16">
            <a:extLst>
              <a:ext uri="{FF2B5EF4-FFF2-40B4-BE49-F238E27FC236}">
                <a16:creationId xmlns:a16="http://schemas.microsoft.com/office/drawing/2014/main" id="{1CB01722-B985-CFF8-335A-FBB2B5EB4CFD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11083925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E33AA05C-71AD-B7DC-3B07-E3CE847F70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100% Stacked Column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EBF9546F-127F-1DC8-76D4-D926D3E8F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CDCF80B5-48CE-049F-524C-FD23780D0C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B68FAD1-9AD1-2504-2EAE-F38EA95D7B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46084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3</TotalTime>
  <Words>17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100% Stacked Column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49</cp:revision>
  <dcterms:created xsi:type="dcterms:W3CDTF">2025-07-09T10:57:17Z</dcterms:created>
  <dcterms:modified xsi:type="dcterms:W3CDTF">2025-10-22T09:46:17Z</dcterms:modified>
  <cp:category/>
</cp:coreProperties>
</file>